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10289" r:id="rId2"/>
    <p:sldId id="10310" r:id="rId3"/>
    <p:sldId id="10284" r:id="rId4"/>
    <p:sldId id="10311" r:id="rId5"/>
    <p:sldId id="10314" r:id="rId6"/>
    <p:sldId id="103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E8DC48-F8AA-4EFB-981E-5406336757BA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528177-A8DB-4560-942D-D6BA715F2FE8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89004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9855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0062BC-9906-4BB4-A70D-68A79D6A0B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8BA240-5CF9-4E78-95CB-5B2600547E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C0CB24-5065-49C4-8CEE-C7DAE8248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2528EB-3E5B-4AFB-BDEE-F849B442A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782AE2-BEC9-4F96-9776-753ACA0E2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50469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18A967-1F1C-404A-B968-303147FD1B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DEB0FFA-5549-46E8-B8FA-E69F25A501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B14FB37-3451-4BCC-8391-1539F1061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1A2AF0B-2FD1-412E-84BF-EF904152B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681ECD-3270-4C64-BB32-68AE041666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05621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CECE940-C3EB-4CE8-B5BB-00C87C44F0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EF4AD7F-F217-464C-9B73-BDD30C8FB5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C847DFA-D12F-4246-B962-8802CDFA6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54B798A-424A-452B-B1BE-ED13B702B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3C9C22-7F1B-48D0-AE55-D70D27EDA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843728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E93F480-2FEF-466D-AF7F-C71E8509D6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08050"/>
            <a:ext cx="12192000" cy="543718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8907F8-49AB-4775-B218-3B22E862BE73}"/>
              </a:ext>
            </a:extLst>
          </p:cNvPr>
          <p:cNvSpPr>
            <a:spLocks noGrp="1" noChangeAspect="1"/>
          </p:cNvSpPr>
          <p:nvPr>
            <p:ph type="ctrTitle" hasCustomPrompt="1"/>
          </p:nvPr>
        </p:nvSpPr>
        <p:spPr>
          <a:xfrm>
            <a:off x="703263" y="4160220"/>
            <a:ext cx="6040995" cy="595923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72000" rIns="72000" bIns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00" kern="1200" cap="all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USTER EINER </a:t>
            </a:r>
            <a:r>
              <a:rPr lang="de-DE" err="1"/>
              <a:t>PRÄSENTATIOn</a:t>
            </a:r>
            <a:endParaRPr lang="de-DE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18DC987-D2A7-4E4D-B613-7BA4EF5A80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3263" y="4875722"/>
            <a:ext cx="5839594" cy="749812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72000" rIns="72000" b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de-DE" sz="2200" kern="1200" cap="all" spc="0" baseline="0" dirty="0">
                <a:solidFill>
                  <a:srgbClr val="69BE28"/>
                </a:solidFill>
                <a:latin typeface="Dubai Medium" panose="020B0603030403030204" pitchFamily="34" charset="-78"/>
                <a:ea typeface="+mj-ea"/>
                <a:cs typeface="Dubai Medium" panose="020B0603030403030204" pitchFamily="34" charset="-7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DAS IST EIN ETWAS LÄNGERER UNTERTITEL</a:t>
            </a:r>
          </a:p>
          <a:p>
            <a:r>
              <a:rPr lang="de-DE"/>
              <a:t>Hier stehen </a:t>
            </a:r>
            <a:r>
              <a:rPr lang="de-DE" err="1"/>
              <a:t>autor</a:t>
            </a:r>
            <a:r>
              <a:rPr lang="de-DE"/>
              <a:t> oder </a:t>
            </a:r>
            <a:r>
              <a:rPr lang="de-DE" err="1"/>
              <a:t>veranstaltung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786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14">
          <p15:clr>
            <a:srgbClr val="FBAE40"/>
          </p15:clr>
        </p15:guide>
        <p15:guide id="2" pos="4793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3067">
          <p15:clr>
            <a:srgbClr val="FBAE40"/>
          </p15:clr>
        </p15:guide>
        <p15:guide id="5" pos="43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om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2291CB-709E-4E0F-A7B1-94D9FC7111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4144" y="818657"/>
            <a:ext cx="7021444" cy="618423"/>
          </a:xfrm>
        </p:spPr>
        <p:txBody>
          <a:bodyPr wrap="none"/>
          <a:lstStyle>
            <a:lvl1pPr>
              <a:defRPr/>
            </a:lvl1pPr>
          </a:lstStyle>
          <a:p>
            <a:r>
              <a:rPr lang="de-DE"/>
              <a:t>Hier steht der </a:t>
            </a:r>
            <a:r>
              <a:rPr lang="de-DE" err="1"/>
              <a:t>folientitel</a:t>
            </a:r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A95B242F-CDC3-4129-B0F2-E5EB06E122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56138" y="2168525"/>
            <a:ext cx="7020546" cy="417671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16CE3E6-AD3F-4DAA-B09C-0E257C8780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295775" cy="6858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lang="de-DE"/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470B68EF-1D77-4C69-B0E8-A7E84AF1E1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65663" y="1301378"/>
            <a:ext cx="7019925" cy="470272"/>
          </a:xfrm>
        </p:spPr>
        <p:txBody>
          <a:bodyPr wrap="none" lIns="0" tIns="0" bIns="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2400" kern="1200" cap="all" baseline="0" dirty="0">
                <a:solidFill>
                  <a:srgbClr val="69BE28"/>
                </a:solidFill>
                <a:latin typeface="Dubai Medium" panose="020B0603030403030204" pitchFamily="34" charset="-78"/>
                <a:ea typeface="Roboto Medium" panose="02000000000000000000" pitchFamily="2" charset="0"/>
                <a:cs typeface="Dubai Medium" panose="020B0603030403030204" pitchFamily="34" charset="-78"/>
              </a:defRPr>
            </a:lvl1pPr>
          </a:lstStyle>
          <a:p>
            <a:pPr lvl="0"/>
            <a:r>
              <a:rPr lang="de-DE"/>
              <a:t>Hier steht der </a:t>
            </a:r>
            <a:r>
              <a:rPr lang="de-DE" err="1"/>
              <a:t>UNtertitel</a:t>
            </a:r>
            <a:endParaRPr lang="de-DE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B5414B57-47B4-4B3F-A383-E1BBA28231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137" y="6524625"/>
            <a:ext cx="4154487" cy="19685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Dubai Medium" panose="020B0603030403030204" pitchFamily="34" charset="-78"/>
                <a:ea typeface="Roboto Medium" panose="02000000000000000000" pitchFamily="2" charset="0"/>
                <a:cs typeface="Dubai Medium" panose="020B0603030403030204" pitchFamily="34" charset="-78"/>
              </a:defRPr>
            </a:lvl1pPr>
          </a:lstStyle>
          <a:p>
            <a:pPr algn="l">
              <a:spcBef>
                <a:spcPts val="700"/>
              </a:spcBef>
              <a:buClr>
                <a:srgbClr val="9F0C24"/>
              </a:buClr>
              <a:buSzPct val="60000"/>
              <a:defRPr/>
            </a:pPr>
            <a:r>
              <a:rPr lang="de-AT" b="1" cap="all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</a:rPr>
              <a:t>digitales Partnerforum 18.05.2021 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C6243DD-BF05-4C4D-9057-F6EADF78A1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0175" y="6524625"/>
            <a:ext cx="2743200" cy="196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/>
              <a:t>salzburgerland.com | </a:t>
            </a:r>
            <a:fld id="{680C3A9E-B5FC-4546-BF94-046D2CE2CB0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13293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m mit Interpre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7">
            <a:extLst>
              <a:ext uri="{FF2B5EF4-FFF2-40B4-BE49-F238E27FC236}">
                <a16:creationId xmlns:a16="http://schemas.microsoft.com/office/drawing/2014/main" id="{76099101-D873-4E8E-BBFA-347B64255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0355" y="908146"/>
            <a:ext cx="10966183" cy="513873"/>
          </a:xfrm>
          <a:solidFill>
            <a:schemeClr val="bg1"/>
          </a:solidFill>
        </p:spPr>
        <p:txBody>
          <a:bodyPr wrap="none" lIns="0"/>
          <a:lstStyle>
            <a:lvl1pPr>
              <a:defRPr sz="3400"/>
            </a:lvl1pPr>
          </a:lstStyle>
          <a:p>
            <a:r>
              <a:rPr lang="de-DE"/>
              <a:t>Hier steht der </a:t>
            </a:r>
            <a:r>
              <a:rPr lang="de-DE" err="1"/>
              <a:t>folientitel</a:t>
            </a:r>
            <a:endParaRPr lang="de-DE"/>
          </a:p>
        </p:txBody>
      </p:sp>
      <p:sp>
        <p:nvSpPr>
          <p:cNvPr id="13" name="Diagrammplatzhalter 12">
            <a:extLst>
              <a:ext uri="{FF2B5EF4-FFF2-40B4-BE49-F238E27FC236}">
                <a16:creationId xmlns:a16="http://schemas.microsoft.com/office/drawing/2014/main" id="{C22E6F28-6971-4CA0-9F24-E92B088AE7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08981" y="2168524"/>
            <a:ext cx="5287962" cy="41767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11" name="Textplatzhalter 15">
            <a:extLst>
              <a:ext uri="{FF2B5EF4-FFF2-40B4-BE49-F238E27FC236}">
                <a16:creationId xmlns:a16="http://schemas.microsoft.com/office/drawing/2014/main" id="{CC393F32-37B1-4E62-B124-58B2F962E5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95059" y="2168525"/>
            <a:ext cx="5477926" cy="4176713"/>
          </a:xfrm>
        </p:spPr>
        <p:txBody>
          <a:bodyPr lIns="0">
            <a:noAutofit/>
          </a:bodyPr>
          <a:lstStyle>
            <a:lvl1pPr marL="361950" indent="-361950">
              <a:lnSpc>
                <a:spcPct val="100000"/>
              </a:lnSpc>
              <a:spcBef>
                <a:spcPts val="600"/>
              </a:spcBef>
              <a:buFontTx/>
              <a:buBlip>
                <a:blip r:embed="rId2"/>
              </a:buBlip>
              <a:defRPr sz="2200"/>
            </a:lvl1pPr>
            <a:lvl2pPr marL="628650" indent="-361950">
              <a:lnSpc>
                <a:spcPct val="100000"/>
              </a:lnSpc>
              <a:spcBef>
                <a:spcPts val="600"/>
              </a:spcBef>
              <a:buFontTx/>
              <a:buBlip>
                <a:blip r:embed="rId3"/>
              </a:buBlip>
              <a:defRPr sz="2000">
                <a:latin typeface="+mj-lt"/>
              </a:defRPr>
            </a:lvl2pPr>
            <a:lvl3pPr marL="895350" indent="-352425">
              <a:lnSpc>
                <a:spcPct val="100000"/>
              </a:lnSpc>
              <a:spcBef>
                <a:spcPts val="600"/>
              </a:spcBef>
              <a:buFontTx/>
              <a:buBlip>
                <a:blip r:embed="rId4"/>
              </a:buBlip>
              <a:defRPr sz="2000">
                <a:latin typeface="+mj-lt"/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45E64B5F-12DF-4ED6-908A-BE9FCC456B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137" y="6524625"/>
            <a:ext cx="4154487" cy="19685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Dubai Medium" panose="020B0603030403030204" pitchFamily="34" charset="-78"/>
                <a:ea typeface="Roboto Medium" panose="02000000000000000000" pitchFamily="2" charset="0"/>
                <a:cs typeface="Dubai Medium" panose="020B0603030403030204" pitchFamily="34" charset="-78"/>
              </a:defRPr>
            </a:lvl1pPr>
          </a:lstStyle>
          <a:p>
            <a:pPr algn="l">
              <a:spcBef>
                <a:spcPts val="700"/>
              </a:spcBef>
              <a:buClr>
                <a:srgbClr val="9F0C24"/>
              </a:buClr>
              <a:buSzPct val="60000"/>
              <a:defRPr/>
            </a:pPr>
            <a:r>
              <a:rPr lang="de-AT" b="1" cap="all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</a:rPr>
              <a:t>digitales Partnerforum 18.05.2021 </a:t>
            </a:r>
          </a:p>
        </p:txBody>
      </p:sp>
      <p:sp>
        <p:nvSpPr>
          <p:cNvPr id="9" name="Foliennummernplatzhalter 9">
            <a:extLst>
              <a:ext uri="{FF2B5EF4-FFF2-40B4-BE49-F238E27FC236}">
                <a16:creationId xmlns:a16="http://schemas.microsoft.com/office/drawing/2014/main" id="{C60558B0-1D99-4C5A-97A9-4B975ECA95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0175" y="6524625"/>
            <a:ext cx="2743200" cy="196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/>
              <a:t>salzburgerland.com | </a:t>
            </a:r>
            <a:fld id="{680C3A9E-B5FC-4546-BF94-046D2CE2CB0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115EC630-2500-4C62-8981-9D9E449F61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301378"/>
            <a:ext cx="10990263" cy="470272"/>
          </a:xfrm>
        </p:spPr>
        <p:txBody>
          <a:bodyPr wrap="none" lIns="0" tIns="0" bIns="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2400" kern="1200" cap="all" baseline="0" dirty="0">
                <a:solidFill>
                  <a:srgbClr val="69BE28"/>
                </a:solidFill>
                <a:latin typeface="Dubai Medium" panose="020B0603030403030204" pitchFamily="34" charset="-78"/>
                <a:ea typeface="Roboto Medium" panose="02000000000000000000" pitchFamily="2" charset="0"/>
                <a:cs typeface="Dubai Medium" panose="020B0603030403030204" pitchFamily="34" charset="-78"/>
              </a:defRPr>
            </a:lvl1pPr>
          </a:lstStyle>
          <a:p>
            <a:pPr lvl="0"/>
            <a:r>
              <a:rPr lang="de-DE"/>
              <a:t>Hier steht der </a:t>
            </a:r>
            <a:r>
              <a:rPr lang="de-DE" err="1"/>
              <a:t>UNtertit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89787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m Nächtigu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158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7">
            <a:extLst>
              <a:ext uri="{FF2B5EF4-FFF2-40B4-BE49-F238E27FC236}">
                <a16:creationId xmlns:a16="http://schemas.microsoft.com/office/drawing/2014/main" id="{76099101-D873-4E8E-BBFA-347B64255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917671"/>
            <a:ext cx="10966183" cy="513873"/>
          </a:xfrm>
          <a:solidFill>
            <a:schemeClr val="bg1"/>
          </a:solidFill>
        </p:spPr>
        <p:txBody>
          <a:bodyPr wrap="none" lIns="0"/>
          <a:lstStyle>
            <a:lvl1pPr>
              <a:defRPr sz="3400"/>
            </a:lvl1pPr>
          </a:lstStyle>
          <a:p>
            <a:r>
              <a:rPr lang="de-DE"/>
              <a:t>Hier steht der </a:t>
            </a:r>
            <a:r>
              <a:rPr lang="de-DE" err="1"/>
              <a:t>folientitel</a:t>
            </a:r>
            <a:endParaRPr lang="de-DE"/>
          </a:p>
        </p:txBody>
      </p:sp>
      <p:sp>
        <p:nvSpPr>
          <p:cNvPr id="13" name="Diagrammplatzhalter 12">
            <a:extLst>
              <a:ext uri="{FF2B5EF4-FFF2-40B4-BE49-F238E27FC236}">
                <a16:creationId xmlns:a16="http://schemas.microsoft.com/office/drawing/2014/main" id="{C22E6F28-6971-4CA0-9F24-E92B088AE73D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95326" y="2168525"/>
            <a:ext cx="10980738" cy="41767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45897ECB-31DA-4ECC-810C-C872FC73DB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137" y="6524625"/>
            <a:ext cx="4154487" cy="19685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Dubai Medium" panose="020B0603030403030204" pitchFamily="34" charset="-78"/>
                <a:ea typeface="Roboto Medium" panose="02000000000000000000" pitchFamily="2" charset="0"/>
                <a:cs typeface="Dubai Medium" panose="020B0603030403030204" pitchFamily="34" charset="-78"/>
              </a:defRPr>
            </a:lvl1pPr>
          </a:lstStyle>
          <a:p>
            <a:pPr algn="l">
              <a:spcBef>
                <a:spcPts val="700"/>
              </a:spcBef>
              <a:buClr>
                <a:srgbClr val="9F0C24"/>
              </a:buClr>
              <a:buSzPct val="60000"/>
              <a:defRPr/>
            </a:pPr>
            <a:r>
              <a:rPr lang="de-AT" b="1" cap="all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</a:rPr>
              <a:t>digitales Partnerforum 18.05.2021 </a:t>
            </a:r>
          </a:p>
        </p:txBody>
      </p:sp>
      <p:sp>
        <p:nvSpPr>
          <p:cNvPr id="12" name="Foliennummernplatzhalter 9">
            <a:extLst>
              <a:ext uri="{FF2B5EF4-FFF2-40B4-BE49-F238E27FC236}">
                <a16:creationId xmlns:a16="http://schemas.microsoft.com/office/drawing/2014/main" id="{8D7CA39D-ED61-4787-BFE6-74D6CA16EE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0175" y="6524625"/>
            <a:ext cx="2743200" cy="196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de-DE"/>
              <a:t>salzburgerland.com | </a:t>
            </a:r>
            <a:fld id="{680C3A9E-B5FC-4546-BF94-046D2CE2CB0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C5549DE5-CBB4-48C4-95E3-DE17D77475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301378"/>
            <a:ext cx="10990263" cy="470272"/>
          </a:xfrm>
        </p:spPr>
        <p:txBody>
          <a:bodyPr wrap="none" lIns="0" tIns="0" bIns="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lang="de-DE" sz="2400" kern="1200" cap="all" baseline="0" dirty="0">
                <a:solidFill>
                  <a:srgbClr val="69BE28"/>
                </a:solidFill>
                <a:latin typeface="Dubai Medium" panose="020B0603030403030204" pitchFamily="34" charset="-78"/>
                <a:ea typeface="Roboto Medium" panose="02000000000000000000" pitchFamily="2" charset="0"/>
                <a:cs typeface="Dubai Medium" panose="020B0603030403030204" pitchFamily="34" charset="-78"/>
              </a:defRPr>
            </a:lvl1pPr>
          </a:lstStyle>
          <a:p>
            <a:pPr lvl="0"/>
            <a:r>
              <a:rPr lang="de-DE"/>
              <a:t>Hier steht der </a:t>
            </a:r>
            <a:r>
              <a:rPr lang="de-DE" err="1"/>
              <a:t>UNtertit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1457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0B5BBE-198E-411F-8AAA-C301658A6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9BBF3A-F3F8-4B12-861E-E6B7E8198C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E5B818C-F352-4D9B-A539-0C792062B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AC7B8C-3F9D-4CF3-A0CF-8C6F9075D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1799027-9167-4C50-B75A-3FE872E49E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526869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177D5C-FFF1-483E-94D6-D7FB79F58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91A846-271F-4D99-A8F9-B1090EFA03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0D8246B-9F3A-4326-AAE1-1A435482F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58A3110-736D-4467-8FDB-A3EE23265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94F7B9A-2513-41FF-8F96-CA5765A31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06205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C0DEAF-4532-44B8-A044-179E210ED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9B3E942-13A9-4F09-95E2-A43360B9BA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FD9513F-0F45-414D-B83B-6DBE957C68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EEFCB66-7FAD-4D7C-9CCD-A0FF7FF1E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A0A19C7-660F-4F22-9C3B-CD122E7BD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078E6A9-C7C1-4E8B-BFD9-F54496266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25199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3AC4F9-EA4B-4D39-B279-163EC49AB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2976125-854F-4213-BF2F-69F33D8F2B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C48AA4A-6236-41E9-B4AF-5F924C9077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59AAE3C-4C81-4C59-80E0-2FCA45FEF0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894697A-307F-4096-9181-21859932AE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496CDE1-99D6-4C85-BFF7-5116D15A2E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3FB155D-46DE-42D8-8FD8-7B0964D8A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CBC9243-BC0C-42A3-B98C-AF745A720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965877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256FAC-DDDF-4FB7-A801-E797E1E38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AAAF28-7076-43D5-BC67-6355CAD3F1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5C56297-EA5E-4ED0-8027-980A3DC66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2EF7428-8E60-49A5-AE92-993FACC12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789585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ED57206-CAAF-417F-A0B0-49B254C8B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685B00E-F089-4842-BF75-7784F5181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A06632-D6FB-4D3C-A98D-E73B3E367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620729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2A2D65-C8BE-4C6E-9DBE-5EA300E67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186DD04-3B77-49AA-9ABE-64B1682CB8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5E54AE8-A3D6-48FE-AA06-4FEDFF09A6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3EE3B14-496D-41CD-9C15-EFC358C1E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0F63863-D1C9-4191-902F-4E317F5DF7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93B12B-373E-43BB-A7C6-99AA03921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11771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C2DACB-CA37-498F-8257-608AA274E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5190AFE-2900-4EE4-A39D-73BD8DF592E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FE3191-A64F-4939-8746-1FD968E65A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91467A5-F905-47C8-B82A-8A96A01E0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BF929BC-C36C-432F-818A-D1C00E942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F4C0F92-5CF6-48C2-B247-64069DDB9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804343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1057CE8-95BD-4A33-BDA3-B90EBD776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E3E93D-82B7-488E-8402-8AF39CDF0A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CA1A7A7-027F-434A-BEE5-7C16FB6D16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70E65A-A863-413E-9CB4-6E4110C6DEE4}" type="datetimeFigureOut">
              <a:rPr lang="de-AT" smtClean="0"/>
              <a:t>18.05.2021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5407CB-A6BF-4ED2-BC45-833797376C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262DDB5-E2F1-4A43-8FBB-2D284730E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071062-2FD7-47CB-B730-8869F407EBF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867107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AC62278F-FA94-4604-90A9-F894B5A8C64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4E825E98-213E-47D9-84E4-ED0551815E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3263" y="4420379"/>
            <a:ext cx="1855811" cy="595923"/>
          </a:xfrm>
        </p:spPr>
        <p:txBody>
          <a:bodyPr/>
          <a:lstStyle/>
          <a:p>
            <a:r>
              <a:rPr lang="de-DE"/>
              <a:t>Märkte </a:t>
            </a:r>
            <a:endParaRPr lang="de-AT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6873B3B6-971B-44A1-9AEC-6E64E7FE4A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3263" y="5214277"/>
            <a:ext cx="3159501" cy="411257"/>
          </a:xfrm>
        </p:spPr>
        <p:txBody>
          <a:bodyPr/>
          <a:lstStyle/>
          <a:p>
            <a:r>
              <a:rPr lang="de-DE"/>
              <a:t>Update &amp; Status Quo </a:t>
            </a:r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F433BBF-E41F-4A9C-8AE9-ABF84E6B162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037513" y="6524625"/>
            <a:ext cx="4154487" cy="196850"/>
          </a:xfrm>
        </p:spPr>
        <p:txBody>
          <a:bodyPr/>
          <a:lstStyle/>
          <a:p>
            <a:pPr algn="l">
              <a:spcBef>
                <a:spcPts val="700"/>
              </a:spcBef>
              <a:buClr>
                <a:srgbClr val="9F0C24"/>
              </a:buClr>
              <a:buSzPct val="60000"/>
              <a:defRPr/>
            </a:pPr>
            <a:r>
              <a:rPr lang="de-AT" b="1" cap="all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</a:rPr>
              <a:t>digitales Partnerforum 18.05.2021 </a:t>
            </a:r>
          </a:p>
        </p:txBody>
      </p:sp>
    </p:spTree>
    <p:extLst>
      <p:ext uri="{BB962C8B-B14F-4D97-AF65-F5344CB8AC3E}">
        <p14:creationId xmlns:p14="http://schemas.microsoft.com/office/powerpoint/2010/main" val="927121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CA2A0B-7277-F348-BD01-356FC5BE1C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0662" y="818657"/>
            <a:ext cx="6384925" cy="618423"/>
          </a:xfrm>
        </p:spPr>
        <p:txBody>
          <a:bodyPr>
            <a:normAutofit fontScale="90000"/>
          </a:bodyPr>
          <a:lstStyle/>
          <a:p>
            <a:r>
              <a:rPr lang="de-DE" dirty="0"/>
              <a:t>Leitfaden Stand 18. MAI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CC31383-E458-2E4D-AAB8-8784824CC2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6879" y="1748022"/>
            <a:ext cx="5326591" cy="4176713"/>
          </a:xfrm>
        </p:spPr>
        <p:txBody>
          <a:bodyPr vert="horz" lIns="0" tIns="45720" rIns="91440" bIns="45720" rtlCol="0" anchor="t">
            <a:normAutofit fontScale="77500" lnSpcReduction="20000"/>
          </a:bodyPr>
          <a:lstStyle/>
          <a:p>
            <a:pPr marL="0" indent="0">
              <a:buNone/>
            </a:pPr>
            <a:endParaRPr lang="de-DE">
              <a:cs typeface="Dubai Light"/>
            </a:endParaRPr>
          </a:p>
          <a:p>
            <a:r>
              <a:rPr lang="de-DE">
                <a:ea typeface="+mj-lt"/>
                <a:cs typeface="+mj-lt"/>
              </a:rPr>
              <a:t>Personen, die aus grünen/orange Gebieten einreisen dürfen ohne Einschränkungen nach Österreich einreisen;</a:t>
            </a:r>
            <a:endParaRPr lang="de-DE"/>
          </a:p>
          <a:p>
            <a:r>
              <a:rPr lang="de-DE">
                <a:ea typeface="+mj-lt"/>
                <a:cs typeface="+mj-lt"/>
              </a:rPr>
              <a:t>Personen, die aus roten Gebieten anreisen, müssen entweder getestet, geimpft oder sich von COVID-19 erholt haben;</a:t>
            </a:r>
            <a:endParaRPr lang="de-DE"/>
          </a:p>
          <a:p>
            <a:r>
              <a:rPr lang="de-DE">
                <a:ea typeface="+mj-lt"/>
                <a:cs typeface="+mj-lt"/>
              </a:rPr>
              <a:t>Personen, die aus dunkelroten Gebieten einreisen, müssen entweder getestet, geimpft oder sich von COVID-19 erholt haben und mindestens 5 Tage in Quarantäne gehen.</a:t>
            </a:r>
            <a:endParaRPr lang="de-DE"/>
          </a:p>
          <a:p>
            <a:endParaRPr lang="de-DE">
              <a:cs typeface="Dubai Light"/>
            </a:endParaRPr>
          </a:p>
          <a:p>
            <a:endParaRPr lang="de-DE">
              <a:cs typeface="Dubai Ligh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19C284A-0FEB-354F-97B8-165FC885B2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spcBef>
                <a:spcPts val="700"/>
              </a:spcBef>
              <a:buClr>
                <a:srgbClr val="9F0C24"/>
              </a:buClr>
              <a:buSzPct val="60000"/>
              <a:defRPr/>
            </a:pPr>
            <a:r>
              <a:rPr lang="de-AT" b="1" cap="all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</a:rPr>
              <a:t>digitales Partnerforum 18.05.2021 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1571A18-0027-DE4D-B6CB-2EE97821E6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alzburgerland.com | </a:t>
            </a:r>
            <a:fld id="{680C3A9E-B5FC-4546-BF94-046D2CE2CB09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E1539C35-8BA1-468D-AD25-6CA44F732A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925" y="1748022"/>
            <a:ext cx="5748865" cy="477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3651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E96CC4AC-EE16-4FA6-B5B4-25933FACB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8677" y="818657"/>
            <a:ext cx="7506911" cy="618423"/>
          </a:xfrm>
        </p:spPr>
        <p:txBody>
          <a:bodyPr>
            <a:normAutofit fontScale="90000"/>
          </a:bodyPr>
          <a:lstStyle/>
          <a:p>
            <a:r>
              <a:rPr lang="de-AT">
                <a:ea typeface="+mj-lt"/>
                <a:cs typeface="+mj-lt"/>
              </a:rPr>
              <a:t>FAQ</a:t>
            </a: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D3037AD-B528-4DB9-85CE-604767E48F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94139" y="1899038"/>
            <a:ext cx="7791837" cy="4501956"/>
          </a:xfrm>
        </p:spPr>
        <p:txBody>
          <a:bodyPr vert="horz" lIns="0" tIns="45720" rIns="91440" bIns="45720" rtlCol="0" anchor="t">
            <a:normAutofit fontScale="70000" lnSpcReduction="20000"/>
          </a:bodyPr>
          <a:lstStyle/>
          <a:p>
            <a:r>
              <a:rPr lang="en-US" b="1" err="1">
                <a:ea typeface="+mj-lt"/>
                <a:cs typeface="+mj-lt"/>
              </a:rPr>
              <a:t>Grundlage</a:t>
            </a:r>
            <a:r>
              <a:rPr lang="en-US" b="1">
                <a:ea typeface="+mj-lt"/>
                <a:cs typeface="+mj-lt"/>
              </a:rPr>
              <a:t>: </a:t>
            </a:r>
            <a:r>
              <a:rPr lang="en-US">
                <a:ea typeface="+mj-lt"/>
                <a:cs typeface="+mj-lt"/>
              </a:rPr>
              <a:t>14-Tage-Inzidenz -, </a:t>
            </a:r>
            <a:r>
              <a:rPr lang="en-US" err="1">
                <a:ea typeface="+mj-lt"/>
                <a:cs typeface="+mj-lt"/>
              </a:rPr>
              <a:t>dazu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kommen</a:t>
            </a:r>
            <a:r>
              <a:rPr lang="en-US">
                <a:ea typeface="+mj-lt"/>
                <a:cs typeface="+mj-lt"/>
              </a:rPr>
              <a:t> die Quote </a:t>
            </a:r>
            <a:r>
              <a:rPr lang="en-US" err="1">
                <a:ea typeface="+mj-lt"/>
                <a:cs typeface="+mj-lt"/>
              </a:rPr>
              <a:t>positiver</a:t>
            </a:r>
            <a:r>
              <a:rPr lang="en-US">
                <a:ea typeface="+mj-lt"/>
                <a:cs typeface="+mj-lt"/>
              </a:rPr>
              <a:t> Tests </a:t>
            </a:r>
            <a:r>
              <a:rPr lang="en-US" err="1">
                <a:ea typeface="+mj-lt"/>
                <a:cs typeface="+mj-lt"/>
              </a:rPr>
              <a:t>sowie</a:t>
            </a:r>
            <a:r>
              <a:rPr lang="en-US">
                <a:ea typeface="+mj-lt"/>
                <a:cs typeface="+mj-lt"/>
              </a:rPr>
              <a:t> die </a:t>
            </a:r>
            <a:r>
              <a:rPr lang="en-US" err="1">
                <a:ea typeface="+mj-lt"/>
                <a:cs typeface="+mj-lt"/>
              </a:rPr>
              <a:t>Anzahl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durchgeführter</a:t>
            </a:r>
            <a:r>
              <a:rPr lang="en-US">
                <a:ea typeface="+mj-lt"/>
                <a:cs typeface="+mj-lt"/>
              </a:rPr>
              <a:t> Tests pro 100.000 Einwohner. </a:t>
            </a:r>
          </a:p>
          <a:p>
            <a:r>
              <a:rPr lang="en-US">
                <a:ea typeface="+mj-lt"/>
                <a:cs typeface="+mj-lt"/>
              </a:rPr>
              <a:t>ECDC will die </a:t>
            </a:r>
            <a:r>
              <a:rPr lang="en-US" err="1">
                <a:ea typeface="+mj-lt"/>
                <a:cs typeface="+mj-lt"/>
              </a:rPr>
              <a:t>Grafiken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eigenen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Angaben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zufolge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jeden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b="1">
                <a:ea typeface="+mj-lt"/>
                <a:cs typeface="+mj-lt"/>
              </a:rPr>
              <a:t>Donnerstag</a:t>
            </a:r>
            <a:r>
              <a:rPr lang="en-US">
                <a:ea typeface="+mj-lt"/>
                <a:cs typeface="+mj-lt"/>
              </a:rPr>
              <a:t> auf </a:t>
            </a:r>
            <a:r>
              <a:rPr lang="en-US" err="1">
                <a:ea typeface="+mj-lt"/>
                <a:cs typeface="+mj-lt"/>
              </a:rPr>
              <a:t>Grundlage</a:t>
            </a:r>
            <a:r>
              <a:rPr lang="en-US">
                <a:ea typeface="+mj-lt"/>
                <a:cs typeface="+mj-lt"/>
              </a:rPr>
              <a:t> der </a:t>
            </a:r>
            <a:r>
              <a:rPr lang="en-US" err="1">
                <a:ea typeface="+mj-lt"/>
                <a:cs typeface="+mj-lt"/>
              </a:rPr>
              <a:t>nationalen</a:t>
            </a:r>
            <a:r>
              <a:rPr lang="en-US">
                <a:ea typeface="+mj-lt"/>
                <a:cs typeface="+mj-lt"/>
              </a:rPr>
              <a:t> Daten </a:t>
            </a:r>
            <a:r>
              <a:rPr lang="en-US" err="1">
                <a:ea typeface="+mj-lt"/>
                <a:cs typeface="+mj-lt"/>
              </a:rPr>
              <a:t>aktualisieren</a:t>
            </a:r>
            <a:r>
              <a:rPr lang="en-US">
                <a:ea typeface="+mj-lt"/>
                <a:cs typeface="+mj-lt"/>
              </a:rPr>
              <a:t>.</a:t>
            </a:r>
            <a:endParaRPr lang="en-US">
              <a:cs typeface="Dubai Light"/>
            </a:endParaRPr>
          </a:p>
          <a:p>
            <a:r>
              <a:rPr lang="en-US" b="1">
                <a:ea typeface="+mj-lt"/>
                <a:cs typeface="+mj-lt"/>
              </a:rPr>
              <a:t>Grüne Regionen:</a:t>
            </a:r>
            <a:r>
              <a:rPr lang="en-US">
                <a:ea typeface="+mj-lt"/>
                <a:cs typeface="+mj-lt"/>
              </a:rPr>
              <a:t> 14-Tage-Inzidenz </a:t>
            </a:r>
            <a:r>
              <a:rPr lang="en-US" err="1">
                <a:ea typeface="+mj-lt"/>
                <a:cs typeface="+mj-lt"/>
              </a:rPr>
              <a:t>unter</a:t>
            </a:r>
            <a:r>
              <a:rPr lang="en-US">
                <a:ea typeface="+mj-lt"/>
                <a:cs typeface="+mj-lt"/>
              </a:rPr>
              <a:t> 25 und die Rate </a:t>
            </a:r>
            <a:r>
              <a:rPr lang="en-US" err="1">
                <a:ea typeface="+mj-lt"/>
                <a:cs typeface="+mj-lt"/>
              </a:rPr>
              <a:t>positiver</a:t>
            </a:r>
            <a:r>
              <a:rPr lang="en-US">
                <a:ea typeface="+mj-lt"/>
                <a:cs typeface="+mj-lt"/>
              </a:rPr>
              <a:t> Tests </a:t>
            </a:r>
            <a:r>
              <a:rPr lang="en-US" err="1">
                <a:ea typeface="+mj-lt"/>
                <a:cs typeface="+mj-lt"/>
              </a:rPr>
              <a:t>unt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vi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Prozent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liegt</a:t>
            </a:r>
            <a:r>
              <a:rPr lang="en-US">
                <a:ea typeface="+mj-lt"/>
                <a:cs typeface="+mj-lt"/>
              </a:rPr>
              <a:t>. </a:t>
            </a:r>
          </a:p>
          <a:p>
            <a:r>
              <a:rPr lang="en-US" b="1">
                <a:ea typeface="+mj-lt"/>
                <a:cs typeface="+mj-lt"/>
              </a:rPr>
              <a:t>Orange Regionen:</a:t>
            </a:r>
            <a:r>
              <a:rPr lang="en-US">
                <a:ea typeface="+mj-lt"/>
                <a:cs typeface="+mj-lt"/>
              </a:rPr>
              <a:t> 14-Tage-Inzidenz </a:t>
            </a:r>
            <a:r>
              <a:rPr lang="en-US" err="1">
                <a:ea typeface="+mj-lt"/>
                <a:cs typeface="+mj-lt"/>
              </a:rPr>
              <a:t>unter</a:t>
            </a:r>
            <a:r>
              <a:rPr lang="en-US">
                <a:ea typeface="+mj-lt"/>
                <a:cs typeface="+mj-lt"/>
              </a:rPr>
              <a:t> 50, die Rate </a:t>
            </a:r>
            <a:r>
              <a:rPr lang="en-US" err="1">
                <a:ea typeface="+mj-lt"/>
                <a:cs typeface="+mj-lt"/>
              </a:rPr>
              <a:t>positiver</a:t>
            </a:r>
            <a:r>
              <a:rPr lang="en-US">
                <a:ea typeface="+mj-lt"/>
                <a:cs typeface="+mj-lt"/>
              </a:rPr>
              <a:t> Tests </a:t>
            </a:r>
            <a:r>
              <a:rPr lang="en-US" err="1">
                <a:ea typeface="+mj-lt"/>
                <a:cs typeface="+mj-lt"/>
              </a:rPr>
              <a:t>ab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bei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vi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Prozent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od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darüb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liegt</a:t>
            </a:r>
            <a:r>
              <a:rPr lang="en-US">
                <a:ea typeface="+mj-lt"/>
                <a:cs typeface="+mj-lt"/>
              </a:rPr>
              <a:t>. </a:t>
            </a:r>
            <a:r>
              <a:rPr lang="en-US" err="1">
                <a:ea typeface="+mj-lt"/>
                <a:cs typeface="+mj-lt"/>
              </a:rPr>
              <a:t>Ebenfalls</a:t>
            </a:r>
            <a:r>
              <a:rPr lang="en-US">
                <a:ea typeface="+mj-lt"/>
                <a:cs typeface="+mj-lt"/>
              </a:rPr>
              <a:t> orange </a:t>
            </a:r>
            <a:r>
              <a:rPr lang="en-US" err="1">
                <a:ea typeface="+mj-lt"/>
                <a:cs typeface="+mj-lt"/>
              </a:rPr>
              <a:t>sind</a:t>
            </a:r>
            <a:r>
              <a:rPr lang="en-US">
                <a:ea typeface="+mj-lt"/>
                <a:cs typeface="+mj-lt"/>
              </a:rPr>
              <a:t> Regionen, in </a:t>
            </a:r>
            <a:r>
              <a:rPr lang="en-US" err="1">
                <a:ea typeface="+mj-lt"/>
                <a:cs typeface="+mj-lt"/>
              </a:rPr>
              <a:t>denen</a:t>
            </a:r>
            <a:r>
              <a:rPr lang="en-US">
                <a:ea typeface="+mj-lt"/>
                <a:cs typeface="+mj-lt"/>
              </a:rPr>
              <a:t> die </a:t>
            </a:r>
            <a:r>
              <a:rPr lang="en-US" err="1">
                <a:ea typeface="+mj-lt"/>
                <a:cs typeface="+mj-lt"/>
              </a:rPr>
              <a:t>Inzidenz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zwischen</a:t>
            </a:r>
            <a:r>
              <a:rPr lang="en-US">
                <a:ea typeface="+mj-lt"/>
                <a:cs typeface="+mj-lt"/>
              </a:rPr>
              <a:t> 25 und 150 </a:t>
            </a:r>
            <a:r>
              <a:rPr lang="en-US" err="1">
                <a:ea typeface="+mj-lt"/>
                <a:cs typeface="+mj-lt"/>
              </a:rPr>
              <a:t>Fällen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liegt</a:t>
            </a:r>
            <a:r>
              <a:rPr lang="en-US">
                <a:ea typeface="+mj-lt"/>
                <a:cs typeface="+mj-lt"/>
              </a:rPr>
              <a:t>, die Rate </a:t>
            </a:r>
            <a:r>
              <a:rPr lang="en-US" err="1">
                <a:ea typeface="+mj-lt"/>
                <a:cs typeface="+mj-lt"/>
              </a:rPr>
              <a:t>positiver</a:t>
            </a:r>
            <a:r>
              <a:rPr lang="en-US">
                <a:ea typeface="+mj-lt"/>
                <a:cs typeface="+mj-lt"/>
              </a:rPr>
              <a:t> Tests </a:t>
            </a:r>
            <a:r>
              <a:rPr lang="en-US" err="1">
                <a:ea typeface="+mj-lt"/>
                <a:cs typeface="+mj-lt"/>
              </a:rPr>
              <a:t>ab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unt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vi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Prozent</a:t>
            </a:r>
            <a:r>
              <a:rPr lang="en-US">
                <a:ea typeface="+mj-lt"/>
                <a:cs typeface="+mj-lt"/>
              </a:rPr>
              <a:t>.</a:t>
            </a:r>
          </a:p>
          <a:p>
            <a:r>
              <a:rPr lang="en-US" b="1">
                <a:ea typeface="+mj-lt"/>
                <a:cs typeface="+mj-lt"/>
              </a:rPr>
              <a:t>Rote Regionen:</a:t>
            </a:r>
            <a:r>
              <a:rPr lang="en-US">
                <a:ea typeface="+mj-lt"/>
                <a:cs typeface="+mj-lt"/>
              </a:rPr>
              <a:t>   14-Tage-Inzidenz ab 50 </a:t>
            </a:r>
            <a:r>
              <a:rPr lang="en-US" err="1">
                <a:ea typeface="+mj-lt"/>
                <a:cs typeface="+mj-lt"/>
              </a:rPr>
              <a:t>sowie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ein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Positivrate</a:t>
            </a:r>
            <a:r>
              <a:rPr lang="en-US">
                <a:ea typeface="+mj-lt"/>
                <a:cs typeface="+mj-lt"/>
              </a:rPr>
              <a:t> ab </a:t>
            </a:r>
            <a:r>
              <a:rPr lang="en-US" err="1">
                <a:ea typeface="+mj-lt"/>
                <a:cs typeface="+mj-lt"/>
              </a:rPr>
              <a:t>vi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Prozent</a:t>
            </a:r>
            <a:r>
              <a:rPr lang="en-US">
                <a:ea typeface="+mj-lt"/>
                <a:cs typeface="+mj-lt"/>
              </a:rPr>
              <a:t>- </a:t>
            </a:r>
            <a:r>
              <a:rPr lang="en-US" err="1">
                <a:ea typeface="+mj-lt"/>
                <a:cs typeface="+mj-lt"/>
              </a:rPr>
              <a:t>od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bei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ein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Inzidenz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höher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als</a:t>
            </a:r>
            <a:r>
              <a:rPr lang="en-US">
                <a:ea typeface="+mj-lt"/>
                <a:cs typeface="+mj-lt"/>
              </a:rPr>
              <a:t> 150. </a:t>
            </a:r>
          </a:p>
          <a:p>
            <a:pPr marL="0" indent="0">
              <a:buNone/>
            </a:pPr>
            <a:endParaRPr lang="en-US">
              <a:ea typeface="+mj-lt"/>
              <a:cs typeface="+mj-lt"/>
            </a:endParaRPr>
          </a:p>
          <a:p>
            <a:r>
              <a:rPr lang="en-US" err="1">
                <a:ea typeface="+mj-lt"/>
                <a:cs typeface="+mj-lt"/>
              </a:rPr>
              <a:t>Zudem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gibt</a:t>
            </a:r>
            <a:r>
              <a:rPr lang="en-US">
                <a:ea typeface="+mj-lt"/>
                <a:cs typeface="+mj-lt"/>
              </a:rPr>
              <a:t> es </a:t>
            </a:r>
            <a:r>
              <a:rPr lang="en-US" err="1">
                <a:ea typeface="+mj-lt"/>
                <a:cs typeface="+mj-lt"/>
              </a:rPr>
              <a:t>graue</a:t>
            </a:r>
            <a:r>
              <a:rPr lang="en-US">
                <a:ea typeface="+mj-lt"/>
                <a:cs typeface="+mj-lt"/>
              </a:rPr>
              <a:t> Regionen </a:t>
            </a:r>
            <a:r>
              <a:rPr lang="en-US" err="1">
                <a:ea typeface="+mj-lt"/>
                <a:cs typeface="+mj-lt"/>
              </a:rPr>
              <a:t>mit</a:t>
            </a:r>
            <a:r>
              <a:rPr lang="en-US">
                <a:ea typeface="+mj-lt"/>
                <a:cs typeface="+mj-lt"/>
              </a:rPr>
              <a:t> </a:t>
            </a:r>
            <a:r>
              <a:rPr lang="en-US" err="1">
                <a:ea typeface="+mj-lt"/>
                <a:cs typeface="+mj-lt"/>
              </a:rPr>
              <a:t>unzureichenden</a:t>
            </a:r>
            <a:r>
              <a:rPr lang="en-US">
                <a:ea typeface="+mj-lt"/>
                <a:cs typeface="+mj-lt"/>
              </a:rPr>
              <a:t> Daten.</a:t>
            </a:r>
            <a:endParaRPr lang="en-US">
              <a:cs typeface="Dubai Light"/>
            </a:endParaRPr>
          </a:p>
          <a:p>
            <a:endParaRPr lang="en-US">
              <a:cs typeface="Dubai Light"/>
            </a:endParaRPr>
          </a:p>
          <a:p>
            <a:endParaRPr lang="en-US">
              <a:cs typeface="Dubai Light"/>
            </a:endParaRPr>
          </a:p>
          <a:p>
            <a:endParaRPr lang="en-US">
              <a:cs typeface="Dubai Light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F0CBDE-E080-46B2-98E2-E53D84DCC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4051" y="1301378"/>
            <a:ext cx="7511537" cy="470272"/>
          </a:xfrm>
        </p:spPr>
        <p:txBody>
          <a:bodyPr/>
          <a:lstStyle/>
          <a:p>
            <a:r>
              <a:rPr lang="en-US" err="1">
                <a:latin typeface="Dubai Medium"/>
                <a:ea typeface="Roboto Medium"/>
                <a:cs typeface="Dubai Medium"/>
              </a:rPr>
              <a:t>EinreiseBestimmungen</a:t>
            </a:r>
            <a:r>
              <a:rPr lang="en-US">
                <a:latin typeface="Dubai Medium"/>
                <a:ea typeface="Roboto Medium"/>
                <a:cs typeface="Dubai Medium"/>
              </a:rPr>
              <a:t> AB 19.05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2C7426-407A-4FA1-BBEB-C91CBB612B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137" y="6524625"/>
            <a:ext cx="4154487" cy="196850"/>
          </a:xfrm>
        </p:spPr>
        <p:txBody>
          <a:bodyPr anchor="ctr">
            <a:normAutofit/>
          </a:bodyPr>
          <a:lstStyle/>
          <a:p>
            <a:pPr algn="l">
              <a:lnSpc>
                <a:spcPct val="90000"/>
              </a:lnSpc>
              <a:spcBef>
                <a:spcPts val="700"/>
              </a:spcBef>
              <a:buClr>
                <a:srgbClr val="9F0C24"/>
              </a:buClr>
              <a:buSzPct val="60000"/>
              <a:defRPr/>
            </a:pPr>
            <a:r>
              <a:rPr lang="de-AT" sz="700" b="1" cap="all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</a:rPr>
              <a:t>digitales Partnerforum 18.05.2021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212E22-0312-4872-92E3-55EDC9B04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0175" y="6524625"/>
            <a:ext cx="2743200" cy="19685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salzburgerland.com | </a:t>
            </a:r>
            <a:fld id="{680C3A9E-B5FC-4546-BF94-046D2CE2CB09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3</a:t>
            </a:fld>
            <a:endParaRPr lang="de-DE" sz="700"/>
          </a:p>
        </p:txBody>
      </p:sp>
      <p:pic>
        <p:nvPicPr>
          <p:cNvPr id="2" name="Picture 7">
            <a:extLst>
              <a:ext uri="{FF2B5EF4-FFF2-40B4-BE49-F238E27FC236}">
                <a16:creationId xmlns:a16="http://schemas.microsoft.com/office/drawing/2014/main" id="{19397D50-7268-4B82-94B3-49E076FB49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4492" t="-3604" r="-44599" b="3475"/>
          <a:stretch/>
        </p:blipFill>
        <p:spPr>
          <a:xfrm>
            <a:off x="462684" y="1532942"/>
            <a:ext cx="5927086" cy="4924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7069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E96CC4AC-EE16-4FA6-B5B4-25933FACB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355" y="908146"/>
            <a:ext cx="10966183" cy="513873"/>
          </a:xfrm>
        </p:spPr>
        <p:txBody>
          <a:bodyPr wrap="none" anchor="b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de-AT"/>
              <a:t>FAQ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2C7426-407A-4FA1-BBEB-C91CBB612B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137" y="6524625"/>
            <a:ext cx="4154487" cy="196850"/>
          </a:xfrm>
        </p:spPr>
        <p:txBody>
          <a:bodyPr anchor="ctr">
            <a:normAutofit/>
          </a:bodyPr>
          <a:lstStyle/>
          <a:p>
            <a:pPr algn="l">
              <a:lnSpc>
                <a:spcPct val="90000"/>
              </a:lnSpc>
              <a:spcBef>
                <a:spcPts val="700"/>
              </a:spcBef>
              <a:buClr>
                <a:srgbClr val="9F0C24"/>
              </a:buClr>
              <a:buSzPct val="60000"/>
              <a:defRPr/>
            </a:pPr>
            <a:r>
              <a:rPr lang="de-AT" sz="700" b="1" cap="all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</a:rPr>
              <a:t>digitales Partnerforum 18.05.2021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212E22-0312-4872-92E3-55EDC9B04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0175" y="6524625"/>
            <a:ext cx="2743200" cy="19685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salzburgerland.com | </a:t>
            </a:r>
            <a:fld id="{680C3A9E-B5FC-4546-BF94-046D2CE2CB09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4</a:t>
            </a:fld>
            <a:endParaRPr lang="de-DE" sz="70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F0CBDE-E080-46B2-98E2-E53D84DCC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5" y="1301378"/>
            <a:ext cx="10990263" cy="470272"/>
          </a:xfrm>
        </p:spPr>
        <p:txBody>
          <a:bodyPr wrap="none" anchor="b">
            <a:normAutofit/>
          </a:bodyPr>
          <a:lstStyle/>
          <a:p>
            <a:r>
              <a:rPr lang="en-US"/>
              <a:t>Inzidenzen der Herkunftsmärkte Stand 17.05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2D5E4E9-DDF5-48DA-BAC9-AD18EF45419E}"/>
              </a:ext>
            </a:extLst>
          </p:cNvPr>
          <p:cNvGraphicFramePr>
            <a:graphicFrameLocks noGrp="1"/>
          </p:cNvGraphicFramePr>
          <p:nvPr/>
        </p:nvGraphicFramePr>
        <p:xfrm>
          <a:off x="7053072" y="2029968"/>
          <a:ext cx="2940586" cy="4109212"/>
        </p:xfrm>
        <a:graphic>
          <a:graphicData uri="http://schemas.openxmlformats.org/drawingml/2006/table">
            <a:tbl>
              <a:tblPr firstRow="1" bandRow="1">
                <a:solidFill>
                  <a:schemeClr val="bg1">
                    <a:lumMod val="95000"/>
                  </a:schemeClr>
                </a:solidFill>
                <a:tableStyleId>{5940675A-B579-460E-94D1-54222C63F5DA}</a:tableStyleId>
              </a:tblPr>
              <a:tblGrid>
                <a:gridCol w="1470293">
                  <a:extLst>
                    <a:ext uri="{9D8B030D-6E8A-4147-A177-3AD203B41FA5}">
                      <a16:colId xmlns:a16="http://schemas.microsoft.com/office/drawing/2014/main" val="4067255800"/>
                    </a:ext>
                  </a:extLst>
                </a:gridCol>
                <a:gridCol w="1470293">
                  <a:extLst>
                    <a:ext uri="{9D8B030D-6E8A-4147-A177-3AD203B41FA5}">
                      <a16:colId xmlns:a16="http://schemas.microsoft.com/office/drawing/2014/main" val="3738460424"/>
                    </a:ext>
                  </a:extLst>
                </a:gridCol>
              </a:tblGrid>
              <a:tr h="37138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300" b="1" cap="none" spc="0">
                          <a:solidFill>
                            <a:schemeClr val="tx1"/>
                          </a:solidFill>
                          <a:effectLst/>
                        </a:rPr>
                        <a:t>Land</a:t>
                      </a:r>
                      <a:endParaRPr lang="en-US" sz="1300" b="1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cap="none" spc="0">
                          <a:solidFill>
                            <a:schemeClr val="tx1"/>
                          </a:solidFill>
                          <a:effectLst/>
                        </a:rPr>
                        <a:t>7‑Tage‑​</a:t>
                      </a:r>
                      <a:endParaRPr lang="en-US" sz="1300" b="1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5169974"/>
                  </a:ext>
                </a:extLst>
              </a:tr>
              <a:tr h="2875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Inzidenz​</a:t>
                      </a:r>
                      <a:endParaRPr lang="en-US" sz="900" b="1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38100" cmpd="sng">
                      <a:noFill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345154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Österreich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66,9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595741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Deutschland​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83,1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807599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Niederlande​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223,4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705841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Belgie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32,1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1289153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Luxemburg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22,8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688842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Italie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79,2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339611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Dänemark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28,6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6835950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Schwede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290,5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197471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Tschechie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72,6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2732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Pole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55,6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4997808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Ungar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66,6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161157"/>
                  </a:ext>
                </a:extLst>
              </a:tr>
              <a:tr h="28752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Vereinigtes Königreich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23,6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17839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DFB6E39-18A7-4451-8719-340BF9E84004}"/>
              </a:ext>
            </a:extLst>
          </p:cNvPr>
          <p:cNvSpPr txBox="1"/>
          <p:nvPr/>
        </p:nvSpPr>
        <p:spPr>
          <a:xfrm>
            <a:off x="7187184" y="6138672"/>
            <a:ext cx="340156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/>
                <a:cs typeface="Calibri"/>
              </a:rPr>
              <a:t>Quelle: </a:t>
            </a:r>
            <a:r>
              <a:rPr lang="en-US" sz="1000" u="sng" dirty="0">
                <a:solidFill>
                  <a:srgbClr val="595959"/>
                </a:solidFill>
                <a:latin typeface="Calibri"/>
                <a:cs typeface="Calibri"/>
              </a:rPr>
              <a:t>https://www.corona-in-zahlen.de/weltweit/</a:t>
            </a:r>
            <a:endParaRPr lang="en-US" sz="1000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B32194A1-C2BD-411F-9CE9-EA1DF340D3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8496" y="1895252"/>
            <a:ext cx="6419088" cy="4530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1511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E96CC4AC-EE16-4FA6-B5B4-25933FACB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355" y="908146"/>
            <a:ext cx="10966183" cy="513873"/>
          </a:xfrm>
        </p:spPr>
        <p:txBody>
          <a:bodyPr wrap="none" anchor="b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de-AT"/>
              <a:t>FAQ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2C7426-407A-4FA1-BBEB-C91CBB612B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137" y="6524625"/>
            <a:ext cx="4154487" cy="196850"/>
          </a:xfrm>
        </p:spPr>
        <p:txBody>
          <a:bodyPr anchor="ctr">
            <a:normAutofit/>
          </a:bodyPr>
          <a:lstStyle/>
          <a:p>
            <a:pPr algn="l">
              <a:lnSpc>
                <a:spcPct val="90000"/>
              </a:lnSpc>
              <a:spcBef>
                <a:spcPts val="700"/>
              </a:spcBef>
              <a:buClr>
                <a:srgbClr val="9F0C24"/>
              </a:buClr>
              <a:buSzPct val="60000"/>
              <a:defRPr/>
            </a:pPr>
            <a:r>
              <a:rPr lang="de-AT" sz="700" b="1" cap="all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</a:rPr>
              <a:t>digitales Partnerforum 18.05.2021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212E22-0312-4872-92E3-55EDC9B04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0175" y="6524625"/>
            <a:ext cx="2743200" cy="19685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salzburgerland.com | </a:t>
            </a:r>
            <a:fld id="{680C3A9E-B5FC-4546-BF94-046D2CE2CB09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endParaRPr lang="de-DE" sz="70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F0CBDE-E080-46B2-98E2-E53D84DCC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5" y="1301378"/>
            <a:ext cx="10990263" cy="470272"/>
          </a:xfrm>
        </p:spPr>
        <p:txBody>
          <a:bodyPr wrap="none" anchor="b">
            <a:normAutofit/>
          </a:bodyPr>
          <a:lstStyle/>
          <a:p>
            <a:r>
              <a:rPr lang="en-US">
                <a:latin typeface="Dubai Medium"/>
                <a:ea typeface="Roboto Medium"/>
                <a:cs typeface="Dubai Medium"/>
              </a:rPr>
              <a:t>IMpfquote Erstimpfung der Herkunftsmärkte Stand 17.05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9A26791-9953-49D5-AC58-145ECB76CFD9}"/>
              </a:ext>
            </a:extLst>
          </p:cNvPr>
          <p:cNvGraphicFramePr>
            <a:graphicFrameLocks noGrp="1"/>
          </p:cNvGraphicFramePr>
          <p:nvPr/>
        </p:nvGraphicFramePr>
        <p:xfrm>
          <a:off x="7467600" y="2023872"/>
          <a:ext cx="3001314" cy="4211808"/>
        </p:xfrm>
        <a:graphic>
          <a:graphicData uri="http://schemas.openxmlformats.org/drawingml/2006/table">
            <a:tbl>
              <a:tblPr firstRow="1" bandRow="1">
                <a:solidFill>
                  <a:schemeClr val="bg1">
                    <a:lumMod val="95000"/>
                  </a:schemeClr>
                </a:solidFill>
                <a:tableStyleId>{3B4B98B0-60AC-42C2-AFA5-B58CD77FA1E5}</a:tableStyleId>
              </a:tblPr>
              <a:tblGrid>
                <a:gridCol w="1635322">
                  <a:extLst>
                    <a:ext uri="{9D8B030D-6E8A-4147-A177-3AD203B41FA5}">
                      <a16:colId xmlns:a16="http://schemas.microsoft.com/office/drawing/2014/main" val="2733786942"/>
                    </a:ext>
                  </a:extLst>
                </a:gridCol>
                <a:gridCol w="1365992">
                  <a:extLst>
                    <a:ext uri="{9D8B030D-6E8A-4147-A177-3AD203B41FA5}">
                      <a16:colId xmlns:a16="http://schemas.microsoft.com/office/drawing/2014/main" val="971698677"/>
                    </a:ext>
                  </a:extLst>
                </a:gridCol>
              </a:tblGrid>
              <a:tr h="3779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Land</a:t>
                      </a:r>
                      <a:endParaRPr lang="en-US" sz="1300" b="1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cap="none" spc="0" dirty="0" err="1">
                          <a:solidFill>
                            <a:schemeClr val="tx1"/>
                          </a:solidFill>
                          <a:effectLst/>
                        </a:rPr>
                        <a:t>Impfquote</a:t>
                      </a:r>
                      <a:r>
                        <a:rPr lang="en-US" sz="1300" b="1" cap="none" spc="0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US" sz="1300" b="1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09681"/>
                  </a:ext>
                </a:extLst>
              </a:tr>
              <a:tr h="2949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Erstimpfung</a:t>
                      </a:r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US" sz="900" b="1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38100" cmpd="sng">
                      <a:noFill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418406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Österreich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32,92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355146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Deutschland​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36,32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561670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Niederlande</a:t>
                      </a:r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29,16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4066331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Belgien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33,56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741013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Luxemburg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30,63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093981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Italien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31,04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293316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Dänemark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28,09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463082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Schweden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31,63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023361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Tschechien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28,28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0238660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Polen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30,36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2052782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Ungarn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47,15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2759694"/>
                  </a:ext>
                </a:extLst>
              </a:tr>
              <a:tr h="2949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Vereinigtes</a:t>
                      </a:r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Königreich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ap="flat" cmpd="sng" algn="ctr">
                      <a:solidFill>
                        <a:schemeClr val="tx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53,50%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10458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363342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8D87E07-6D08-4BF9-99CE-7C65FFF9B143}"/>
              </a:ext>
            </a:extLst>
          </p:cNvPr>
          <p:cNvSpPr txBox="1"/>
          <p:nvPr/>
        </p:nvSpPr>
        <p:spPr>
          <a:xfrm>
            <a:off x="7650480" y="6278880"/>
            <a:ext cx="340156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/>
                <a:cs typeface="Calibri"/>
              </a:rPr>
              <a:t>Quelle: </a:t>
            </a:r>
            <a:r>
              <a:rPr lang="en-US" sz="1000" u="sng" dirty="0">
                <a:solidFill>
                  <a:srgbClr val="595959"/>
                </a:solidFill>
                <a:latin typeface="Calibri"/>
                <a:cs typeface="Calibri"/>
              </a:rPr>
              <a:t>https://www.corona-in-zahlen.de/weltweit/</a:t>
            </a:r>
            <a:endParaRPr lang="en-US" sz="1000" dirty="0"/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BDE4713B-81DC-4388-BB50-2E88E8C424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58368" y="1873904"/>
            <a:ext cx="7571232" cy="455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9263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E96CC4AC-EE16-4FA6-B5B4-25933FACB7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917671"/>
            <a:ext cx="10966183" cy="513873"/>
          </a:xfrm>
        </p:spPr>
        <p:txBody>
          <a:bodyPr wrap="none" anchor="b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de-AT"/>
              <a:t>FAQ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2C7426-407A-4FA1-BBEB-C91CBB612B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137" y="6524625"/>
            <a:ext cx="4154487" cy="196850"/>
          </a:xfrm>
        </p:spPr>
        <p:txBody>
          <a:bodyPr anchor="ctr">
            <a:normAutofit/>
          </a:bodyPr>
          <a:lstStyle/>
          <a:p>
            <a:pPr algn="l">
              <a:lnSpc>
                <a:spcPct val="90000"/>
              </a:lnSpc>
              <a:spcBef>
                <a:spcPts val="700"/>
              </a:spcBef>
              <a:buClr>
                <a:srgbClr val="9F0C24"/>
              </a:buClr>
              <a:buSzPct val="60000"/>
              <a:defRPr/>
            </a:pPr>
            <a:r>
              <a:rPr lang="de-AT" sz="700" b="1" cap="all">
                <a:solidFill>
                  <a:schemeClr val="tx1">
                    <a:lumMod val="75000"/>
                    <a:lumOff val="25000"/>
                    <a:alpha val="80000"/>
                  </a:schemeClr>
                </a:solidFill>
              </a:rPr>
              <a:t>digitales Partnerforum 18.05.2021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212E22-0312-4872-92E3-55EDC9B04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0175" y="6524625"/>
            <a:ext cx="2743200" cy="19685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de-DE" sz="700"/>
              <a:t>salzburgerland.com | </a:t>
            </a:r>
            <a:fld id="{680C3A9E-B5FC-4546-BF94-046D2CE2CB09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6</a:t>
            </a:fld>
            <a:endParaRPr lang="de-DE" sz="70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F0CBDE-E080-46B2-98E2-E53D84DCC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5" y="1301378"/>
            <a:ext cx="10990263" cy="470272"/>
          </a:xfrm>
        </p:spPr>
        <p:txBody>
          <a:bodyPr wrap="none" anchor="b">
            <a:normAutofit/>
          </a:bodyPr>
          <a:lstStyle/>
          <a:p>
            <a:r>
              <a:rPr lang="en-US">
                <a:latin typeface="Dubai Medium"/>
                <a:ea typeface="Roboto Medium"/>
                <a:cs typeface="Dubai Medium"/>
              </a:rPr>
              <a:t>IMpfquote Vollständig Stand 17.05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59FA788-D0DF-4462-ACF6-DC460FE27F86}"/>
              </a:ext>
            </a:extLst>
          </p:cNvPr>
          <p:cNvGraphicFramePr>
            <a:graphicFrameLocks noGrp="1"/>
          </p:cNvGraphicFramePr>
          <p:nvPr/>
        </p:nvGraphicFramePr>
        <p:xfrm>
          <a:off x="7649148" y="1857484"/>
          <a:ext cx="2982439" cy="4326797"/>
        </p:xfrm>
        <a:graphic>
          <a:graphicData uri="http://schemas.openxmlformats.org/drawingml/2006/table">
            <a:tbl>
              <a:tblPr firstRow="1" bandRow="1">
                <a:solidFill>
                  <a:schemeClr val="bg1">
                    <a:lumMod val="95000"/>
                  </a:schemeClr>
                </a:solidFill>
                <a:tableStyleId>{5940675A-B579-460E-94D1-54222C63F5DA}</a:tableStyleId>
              </a:tblPr>
              <a:tblGrid>
                <a:gridCol w="1428836">
                  <a:extLst>
                    <a:ext uri="{9D8B030D-6E8A-4147-A177-3AD203B41FA5}">
                      <a16:colId xmlns:a16="http://schemas.microsoft.com/office/drawing/2014/main" val="3510803426"/>
                    </a:ext>
                  </a:extLst>
                </a:gridCol>
                <a:gridCol w="1553603">
                  <a:extLst>
                    <a:ext uri="{9D8B030D-6E8A-4147-A177-3AD203B41FA5}">
                      <a16:colId xmlns:a16="http://schemas.microsoft.com/office/drawing/2014/main" val="288164792"/>
                    </a:ext>
                  </a:extLst>
                </a:gridCol>
              </a:tblGrid>
              <a:tr h="3563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300" b="1" cap="none" spc="0">
                          <a:solidFill>
                            <a:schemeClr val="tx1"/>
                          </a:solidFill>
                          <a:effectLst/>
                        </a:rPr>
                        <a:t>Land</a:t>
                      </a:r>
                      <a:endParaRPr lang="en-US" sz="1300" b="1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cap="none" spc="0">
                          <a:solidFill>
                            <a:schemeClr val="tx1"/>
                          </a:solidFill>
                          <a:effectLst/>
                        </a:rPr>
                        <a:t>Impfquote​</a:t>
                      </a:r>
                      <a:endParaRPr lang="en-US" sz="1300" b="1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</a:lnT>
                    <a:lnB w="38100" cmpd="sng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4598165"/>
                  </a:ext>
                </a:extLst>
              </a:tr>
              <a:tr h="3054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vollständig​</a:t>
                      </a:r>
                      <a:endParaRPr lang="en-US" sz="900" b="1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38100" cmpd="sng">
                      <a:noFill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2248968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Österreich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1,92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316700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Deutschland​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0,81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6239963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Niederlande</a:t>
                      </a:r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9,16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315398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Belgie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1,61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395350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Luxemburg</a:t>
                      </a:r>
                      <a:endParaRPr lang="en-US" sz="900" cap="none" spc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2,49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222229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Italie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4,02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23266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Dänemark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7,38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169113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Schwede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9,74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8358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Tschechien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0,31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699862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Pole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11,98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9543174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Ungarn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27,50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64026"/>
                  </a:ext>
                </a:extLst>
              </a:tr>
              <a:tr h="30542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Vereinigtes</a:t>
                      </a:r>
                      <a:r>
                        <a:rPr lang="en-US" sz="900" cap="none" spc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US" sz="900" cap="none" spc="0" dirty="0" err="1">
                          <a:solidFill>
                            <a:schemeClr val="tx1"/>
                          </a:solidFill>
                          <a:effectLst/>
                        </a:rPr>
                        <a:t>Königreich</a:t>
                      </a:r>
                      <a:endParaRPr lang="en-US" sz="900" cap="none" spc="0" dirty="0" err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cap="none" spc="0">
                          <a:solidFill>
                            <a:schemeClr val="tx1"/>
                          </a:solidFill>
                          <a:effectLst/>
                        </a:rPr>
                        <a:t>29,02%</a:t>
                      </a:r>
                      <a:endParaRPr lang="en-US" sz="900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51" marR="7493" marT="14386" marB="107894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697665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C13F921-624B-4BC3-9D3C-4D8155BF9FBC}"/>
              </a:ext>
            </a:extLst>
          </p:cNvPr>
          <p:cNvSpPr txBox="1"/>
          <p:nvPr/>
        </p:nvSpPr>
        <p:spPr>
          <a:xfrm>
            <a:off x="7723632" y="6321552"/>
            <a:ext cx="340156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dirty="0">
                <a:solidFill>
                  <a:srgbClr val="595959"/>
                </a:solidFill>
                <a:latin typeface="Calibri"/>
                <a:cs typeface="Calibri"/>
              </a:rPr>
              <a:t>Quelle: </a:t>
            </a:r>
            <a:r>
              <a:rPr lang="en-US" sz="1000" u="sng" dirty="0">
                <a:solidFill>
                  <a:srgbClr val="595959"/>
                </a:solidFill>
                <a:latin typeface="Calibri"/>
                <a:cs typeface="Calibri"/>
              </a:rPr>
              <a:t>https://www.corona-in-zahlen.de/weltweit/</a:t>
            </a:r>
            <a:endParaRPr lang="en-US" sz="1000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2E2E938C-0939-40DD-B441-1D69C921CC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13232" y="1814288"/>
            <a:ext cx="7894320" cy="4716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2409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1</Words>
  <Application>Microsoft Office PowerPoint</Application>
  <PresentationFormat>Breitbild</PresentationFormat>
  <Paragraphs>118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Dubai Medium</vt:lpstr>
      <vt:lpstr>Office</vt:lpstr>
      <vt:lpstr>think-cell Folie</vt:lpstr>
      <vt:lpstr>Märkte </vt:lpstr>
      <vt:lpstr>Leitfaden Stand 18. MAI</vt:lpstr>
      <vt:lpstr>FAQ</vt:lpstr>
      <vt:lpstr>FAQ</vt:lpstr>
      <vt:lpstr>FAQ</vt:lpstr>
      <vt:lpstr>FAQ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ärkte </dc:title>
  <dc:creator>Hörwertner, Gernot</dc:creator>
  <cp:lastModifiedBy>Hörwertner, Gernot</cp:lastModifiedBy>
  <cp:revision>1</cp:revision>
  <dcterms:created xsi:type="dcterms:W3CDTF">2021-05-18T10:58:54Z</dcterms:created>
  <dcterms:modified xsi:type="dcterms:W3CDTF">2021-05-18T11:05:33Z</dcterms:modified>
</cp:coreProperties>
</file>